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962" r:id="rId22"/>
  </p:sldMasterIdLst>
  <p:notesMasterIdLst>
    <p:notesMasterId r:id="rId46"/>
  </p:notesMasterIdLst>
  <p:handoutMasterIdLst>
    <p:handoutMasterId r:id="rId47"/>
  </p:handoutMasterIdLst>
  <p:sldIdLst>
    <p:sldId id="2142532929" r:id="rId23"/>
    <p:sldId id="259" r:id="rId24"/>
    <p:sldId id="2076137349" r:id="rId25"/>
    <p:sldId id="2147475255" r:id="rId26"/>
    <p:sldId id="262" r:id="rId27"/>
    <p:sldId id="342" r:id="rId28"/>
    <p:sldId id="2147475257" r:id="rId29"/>
    <p:sldId id="332" r:id="rId30"/>
    <p:sldId id="330" r:id="rId31"/>
    <p:sldId id="333" r:id="rId32"/>
    <p:sldId id="334" r:id="rId33"/>
    <p:sldId id="335" r:id="rId34"/>
    <p:sldId id="337" r:id="rId35"/>
    <p:sldId id="338" r:id="rId36"/>
    <p:sldId id="339" r:id="rId37"/>
    <p:sldId id="2147475260" r:id="rId38"/>
    <p:sldId id="340" r:id="rId39"/>
    <p:sldId id="341" r:id="rId40"/>
    <p:sldId id="2147475261" r:id="rId41"/>
    <p:sldId id="321" r:id="rId42"/>
    <p:sldId id="2147475258" r:id="rId43"/>
    <p:sldId id="2147475256" r:id="rId44"/>
    <p:sldId id="439" r:id="rId45"/>
  </p:sldIdLst>
  <p:sldSz cx="24387175" cy="13716000"/>
  <p:notesSz cx="6858000" cy="9144000"/>
  <p:defaultTextStyle>
    <a:defPPr>
      <a:defRPr lang="en-US"/>
    </a:defPPr>
    <a:lvl1pPr marL="0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68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937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406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875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344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813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282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751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 slides" id="{4700659D-582D-3B47-8AF6-59C9324AA29A}">
          <p14:sldIdLst>
            <p14:sldId id="2142532929"/>
            <p14:sldId id="259"/>
            <p14:sldId id="2076137349"/>
            <p14:sldId id="2147475255"/>
            <p14:sldId id="262"/>
            <p14:sldId id="342"/>
            <p14:sldId id="2147475257"/>
            <p14:sldId id="332"/>
            <p14:sldId id="330"/>
            <p14:sldId id="333"/>
            <p14:sldId id="334"/>
            <p14:sldId id="335"/>
            <p14:sldId id="337"/>
            <p14:sldId id="338"/>
            <p14:sldId id="339"/>
            <p14:sldId id="2147475260"/>
            <p14:sldId id="340"/>
            <p14:sldId id="341"/>
            <p14:sldId id="2147475261"/>
            <p14:sldId id="321"/>
            <p14:sldId id="2147475258"/>
            <p14:sldId id="2147475256"/>
            <p14:sldId id="439"/>
          </p14:sldIdLst>
        </p14:section>
        <p14:section name="Charts and graphs" id="{61B08F0B-ECA9-8141-86A2-02D8CC977852}">
          <p14:sldIdLst/>
        </p14:section>
        <p14:section name="Selected Pictograms" id="{A71DFE44-60A9-FA4A-8A00-EEDEE7195C5C}">
          <p14:sldIdLst/>
        </p14:section>
        <p14:section name="Microgrid" id="{B04D37AE-4F8F-3744-867F-51C1B17FCD34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75" autoAdjust="0"/>
    <p:restoredTop sz="96327"/>
  </p:normalViewPr>
  <p:slideViewPr>
    <p:cSldViewPr snapToGrid="0" snapToObjects="1">
      <p:cViewPr varScale="1">
        <p:scale>
          <a:sx n="64" d="100"/>
          <a:sy n="64" d="100"/>
        </p:scale>
        <p:origin x="360" y="192"/>
      </p:cViewPr>
      <p:guideLst/>
    </p:cSldViewPr>
  </p:slideViewPr>
  <p:outlineViewPr>
    <p:cViewPr>
      <p:scale>
        <a:sx n="33" d="100"/>
        <a:sy n="33" d="100"/>
      </p:scale>
      <p:origin x="-56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customXml" Target="../customXml/item21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7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commentAuthors" Target="commentAuthors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notesMaster" Target="notesMasters/notesMaster1.xml"/><Relationship Id="rId20" Type="http://schemas.openxmlformats.org/officeDocument/2006/relationships/customXml" Target="../customXml/item20.xml"/><Relationship Id="rId41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6710" y="228600"/>
            <a:ext cx="6419088" cy="361232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06710" y="4087090"/>
            <a:ext cx="6419088" cy="432030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0021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1945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2438522" rtl="0" eaLnBrk="1" latinLnBrk="0" hangingPunct="1">
      <a:lnSpc>
        <a:spcPct val="110000"/>
      </a:lnSpc>
      <a:spcBef>
        <a:spcPts val="0"/>
      </a:spcBef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465690" indent="-452991" algn="l" defTabSz="2438522" rtl="0" eaLnBrk="1" latinLnBrk="0" hangingPunct="1">
      <a:lnSpc>
        <a:spcPct val="110000"/>
      </a:lnSpc>
      <a:spcBef>
        <a:spcPts val="0"/>
      </a:spcBef>
      <a:buFont typeface="IBM Plex Sans"/>
      <a:buChar char="–"/>
      <a:tabLst/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926638" indent="-463319" algn="l" defTabSz="2438522" rtl="0" eaLnBrk="1" latinLnBrk="0" hangingPunct="1">
      <a:lnSpc>
        <a:spcPct val="110000"/>
      </a:lnSpc>
      <a:spcBef>
        <a:spcPts val="0"/>
      </a:spcBef>
      <a:buFont typeface="IBM Plex Sans Light" panose="020B0604020202020204" pitchFamily="34" charset="0"/>
      <a:buChar char="•"/>
      <a:tabLst/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682580" indent="-463319" algn="l" defTabSz="2438522" rtl="0" eaLnBrk="1" latinLnBrk="0" hangingPunct="1">
      <a:lnSpc>
        <a:spcPct val="110000"/>
      </a:lnSpc>
      <a:spcBef>
        <a:spcPts val="0"/>
      </a:spcBef>
      <a:buFont typeface="IBM Plex Sans Light"/>
      <a:buChar char="–"/>
      <a:tabLst/>
      <a:defRPr sz="12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465690" marR="0" indent="-452991" algn="l" defTabSz="2438522" rtl="0" eaLnBrk="1" fontAlgn="base" latinLnBrk="0" hangingPunct="1">
      <a:lnSpc>
        <a:spcPct val="100000"/>
      </a:lnSpc>
      <a:spcBef>
        <a:spcPts val="1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2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6096305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t>Group Name / DOC ID / Month XX, 2024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860101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1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5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3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546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331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716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DE" dirty="0"/>
              <a:t>Cleanup</a:t>
            </a:r>
          </a:p>
          <a:p>
            <a:pPr marL="228600" indent="-228600">
              <a:buAutoNum type="arabicPeriod"/>
            </a:pPr>
            <a:r>
              <a:rPr lang="en-DE" dirty="0"/>
              <a:t>Initialize</a:t>
            </a:r>
          </a:p>
          <a:p>
            <a:pPr marL="685800" lvl="1" indent="-228600">
              <a:buAutoNum type="arabicPeriod"/>
            </a:pPr>
            <a:r>
              <a:rPr lang="en-DE" dirty="0"/>
              <a:t>Show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Git Workflow</a:t>
            </a:r>
          </a:p>
          <a:p>
            <a:pPr marL="228600" indent="-228600">
              <a:buAutoNum type="arabicPeriod"/>
            </a:pPr>
            <a:r>
              <a:rPr lang="en-DE" dirty="0"/>
              <a:t>Import/develop</a:t>
            </a:r>
          </a:p>
          <a:p>
            <a:pPr marL="685800" lvl="1" indent="-228600">
              <a:buAutoNum type="arabicPeriod"/>
            </a:pPr>
            <a:r>
              <a:rPr lang="en-DE" dirty="0"/>
              <a:t>WF</a:t>
            </a:r>
          </a:p>
          <a:p>
            <a:pPr marL="685800" lvl="1" indent="-228600">
              <a:buAutoNum type="arabicPeriod"/>
            </a:pPr>
            <a:r>
              <a:rPr lang="en-DE" dirty="0"/>
              <a:t>Flow</a:t>
            </a:r>
          </a:p>
          <a:p>
            <a:pPr marL="685800" lvl="1" indent="-228600">
              <a:buAutoNum type="arabicPeriod"/>
            </a:pPr>
            <a:r>
              <a:rPr lang="en-DE"/>
              <a:t>Ref</a:t>
            </a:r>
          </a:p>
          <a:p>
            <a:pPr marL="228600" indent="-228600">
              <a:buAutoNum type="arabicPeriod"/>
            </a:pPr>
            <a:r>
              <a:rPr lang="en-DE" dirty="0"/>
              <a:t>Accounts</a:t>
            </a:r>
          </a:p>
          <a:p>
            <a:pPr marL="228600" indent="-228600">
              <a:buAutoNum type="arabicPeriod"/>
            </a:pPr>
            <a:r>
              <a:rPr lang="en-DE" dirty="0"/>
              <a:t>Tes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ID</a:t>
            </a:r>
          </a:p>
          <a:p>
            <a:pPr marL="685800" lvl="1" indent="-228600">
              <a:buAutoNum type="arabicPeriod"/>
            </a:pPr>
            <a:r>
              <a:rPr lang="en-DE" dirty="0"/>
              <a:t>Flowservice http flag</a:t>
            </a:r>
          </a:p>
          <a:p>
            <a:pPr marL="685800" lvl="1" indent="-228600">
              <a:buAutoNum type="arabicPeriod"/>
            </a:pPr>
            <a:r>
              <a:rPr lang="en-DE" dirty="0"/>
              <a:t>Mention and show (Tests could be triggered separately as well)</a:t>
            </a:r>
          </a:p>
          <a:p>
            <a:pPr marL="228600" lvl="0" indent="-228600">
              <a:buAutoNum type="arabicPeriod"/>
            </a:pPr>
            <a:r>
              <a:rPr lang="en-DE" dirty="0"/>
              <a:t>GitHub</a:t>
            </a:r>
          </a:p>
          <a:p>
            <a:pPr marL="685800" lvl="1" indent="-228600">
              <a:buAutoNum type="arabicPeriod"/>
            </a:pPr>
            <a:r>
              <a:rPr lang="en-DE" dirty="0"/>
              <a:t>Action</a:t>
            </a:r>
          </a:p>
          <a:p>
            <a:pPr marL="685800" lvl="1" indent="-228600">
              <a:buAutoNum type="arabicPeriod"/>
            </a:pPr>
            <a:r>
              <a:rPr lang="en-DE" dirty="0"/>
              <a:t>Key</a:t>
            </a:r>
          </a:p>
          <a:p>
            <a:pPr marL="228600" lvl="0" indent="-228600">
              <a:buAutoNum type="arabicPeriod"/>
            </a:pPr>
            <a:r>
              <a:rPr lang="en-DE" dirty="0"/>
              <a:t>SynchToFeature</a:t>
            </a:r>
          </a:p>
          <a:p>
            <a:pPr marL="228600" lvl="0" indent="-228600">
              <a:buAutoNum type="arabicPeriod"/>
            </a:pPr>
            <a:r>
              <a:rPr lang="en-DE" dirty="0"/>
              <a:t>Show Repo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Reference Data/ config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Update DEV and QA configs</a:t>
            </a:r>
          </a:p>
          <a:p>
            <a:pPr marL="228600" lvl="0" indent="-228600">
              <a:buAutoNum type="arabicPeriod"/>
            </a:pPr>
            <a:r>
              <a:rPr lang="en-DE" dirty="0"/>
              <a:t>Show test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DEV</a:t>
            </a:r>
          </a:p>
          <a:p>
            <a:pPr marL="685800" lvl="1" indent="-228600">
              <a:buAutoNum type="arabicPeriod"/>
            </a:pPr>
            <a:r>
              <a:rPr lang="en-DE" dirty="0"/>
              <a:t>Show th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Show Action/Workflow in Github</a:t>
            </a:r>
          </a:p>
          <a:p>
            <a:pPr marL="228600" lvl="0" indent="-228600">
              <a:buAutoNum type="arabicPeriod"/>
            </a:pPr>
            <a:r>
              <a:rPr lang="en-DE" dirty="0"/>
              <a:t>Show Azure </a:t>
            </a:r>
          </a:p>
          <a:p>
            <a:pPr marL="685800" lvl="1" indent="-228600">
              <a:buAutoNum type="arabicPeriod"/>
            </a:pPr>
            <a:r>
              <a:rPr lang="en-DE" dirty="0"/>
              <a:t>DEV triggered</a:t>
            </a:r>
          </a:p>
          <a:p>
            <a:pPr marL="685800" lvl="1" indent="-228600">
              <a:buAutoNum type="arabicPeriod"/>
            </a:pPr>
            <a:r>
              <a:rPr lang="en-DE" dirty="0"/>
              <a:t>Test results (falied)</a:t>
            </a:r>
          </a:p>
          <a:p>
            <a:pPr marL="228600" lvl="0" indent="-228600">
              <a:buAutoNum type="arabicPeriod"/>
            </a:pPr>
            <a:r>
              <a:rPr lang="en-DE" dirty="0"/>
              <a:t>Show DEV Tenant</a:t>
            </a:r>
          </a:p>
          <a:p>
            <a:pPr marL="685800" lvl="1" indent="-228600">
              <a:buAutoNum type="arabicPeriod"/>
            </a:pPr>
            <a:r>
              <a:rPr lang="en-DE" dirty="0"/>
              <a:t>Projec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1</a:t>
            </a:r>
          </a:p>
          <a:p>
            <a:pPr marL="1143000" lvl="2" indent="-228600">
              <a:buAutoNum type="arabicPeriod"/>
            </a:pPr>
            <a:r>
              <a:rPr lang="en-DE" dirty="0"/>
              <a:t>Webhook, Subflow</a:t>
            </a:r>
          </a:p>
          <a:p>
            <a:pPr marL="685800" lvl="1" indent="-228600">
              <a:buAutoNum type="arabicPeriod"/>
            </a:pPr>
            <a:r>
              <a:rPr lang="en-DE" dirty="0"/>
              <a:t>Workflow 2</a:t>
            </a:r>
          </a:p>
          <a:p>
            <a:pPr marL="1143000" lvl="2" indent="-228600">
              <a:buAutoNum type="arabicPeriod"/>
            </a:pPr>
            <a:r>
              <a:rPr lang="en-DE" dirty="0"/>
              <a:t>Account not created</a:t>
            </a:r>
          </a:p>
          <a:p>
            <a:pPr marL="1143000" lvl="2" indent="-228600">
              <a:buAutoNum type="arabicPeriod"/>
            </a:pPr>
            <a:r>
              <a:rPr lang="en-DE" dirty="0"/>
              <a:t>No Trigger</a:t>
            </a:r>
          </a:p>
          <a:p>
            <a:pPr marL="685800" lvl="1" indent="-228600">
              <a:buAutoNum type="arabicPeriod"/>
            </a:pPr>
            <a:r>
              <a:rPr lang="en-DE" dirty="0"/>
              <a:t>FS</a:t>
            </a:r>
          </a:p>
          <a:p>
            <a:pPr marL="1143000" lvl="2" indent="-228600">
              <a:buAutoNum type="arabicPeriod"/>
            </a:pPr>
            <a:r>
              <a:rPr lang="en-DE" dirty="0"/>
              <a:t>Flag </a:t>
            </a:r>
          </a:p>
          <a:p>
            <a:pPr marL="685800" lvl="1" indent="-228600">
              <a:buAutoNum type="arabicPeriod"/>
            </a:pPr>
            <a:r>
              <a:rPr lang="en-DE" dirty="0"/>
              <a:t>Configs</a:t>
            </a:r>
          </a:p>
          <a:p>
            <a:pPr marL="1143000" lvl="2" indent="-228600">
              <a:buAutoNum type="arabicPeriod"/>
            </a:pPr>
            <a:r>
              <a:rPr lang="en-DE" dirty="0"/>
              <a:t>PP</a:t>
            </a:r>
          </a:p>
          <a:p>
            <a:pPr marL="1143000" lvl="2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r>
              <a:rPr lang="en-DE" dirty="0"/>
              <a:t>Updat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Test:</a:t>
            </a:r>
          </a:p>
          <a:p>
            <a:pPr marL="1143000" lvl="2" indent="-228600">
              <a:buAutoNum type="arabicPeriod"/>
            </a:pPr>
            <a:r>
              <a:rPr lang="en-DE" dirty="0"/>
              <a:t>Repo workflow id</a:t>
            </a:r>
          </a:p>
          <a:p>
            <a:pPr marL="1143000" lvl="2" indent="-228600">
              <a:buAutoNum type="arabicPeriod"/>
            </a:pPr>
            <a:r>
              <a:rPr lang="en-DE" dirty="0"/>
              <a:t>Enable http</a:t>
            </a:r>
          </a:p>
          <a:p>
            <a:pPr marL="228600" lvl="0" indent="-228600">
              <a:buAutoNum type="arabicPeriod"/>
            </a:pPr>
            <a:r>
              <a:rPr lang="en-DE" dirty="0"/>
              <a:t>Rerun Manually DEV Test</a:t>
            </a:r>
          </a:p>
          <a:p>
            <a:pPr marL="685800" lvl="1" indent="-228600">
              <a:buAutoNum type="arabicPeriod"/>
            </a:pPr>
            <a:r>
              <a:rPr lang="en-DE" dirty="0"/>
              <a:t>Show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QA </a:t>
            </a:r>
          </a:p>
          <a:p>
            <a:pPr marL="228600" lvl="0" indent="-228600">
              <a:buAutoNum type="arabicPeriod"/>
            </a:pPr>
            <a:r>
              <a:rPr lang="en-DE" dirty="0"/>
              <a:t>Show tenant</a:t>
            </a:r>
          </a:p>
          <a:p>
            <a:pPr marL="685800" lvl="1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505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037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48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491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450"/>
              </a:spcAft>
            </a:pPr>
            <a:br>
              <a:rPr lang="en-GB" dirty="0"/>
            </a:br>
            <a:r>
              <a:rPr lang="en-US" b="1" dirty="0"/>
              <a:t>webMethods.io iPaaS is the only integration platform-as-a-service that delivers all required capabilities. </a:t>
            </a:r>
            <a:r>
              <a:rPr lang="en-US" b="0" dirty="0"/>
              <a:t>The u</a:t>
            </a:r>
            <a:r>
              <a:rPr lang="en-US" sz="1200" b="0" dirty="0"/>
              <a:t>nique </a:t>
            </a:r>
            <a:r>
              <a:rPr lang="en-US" sz="1200" dirty="0"/>
              <a:t>combination of API management, hybrid integration, application integration, data integration, microservices and IoT integration in one platform.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rket leader in API Management*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300+ field tested connectors to accelerate implementation without coding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only platform empowering you to integrate anything—anywher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Points: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Promotes accelerated integration for all types of users from technology professionals to empowered business analysts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ombines integration, API management, and B2B in the cloud and on premises; unified runtimes enable seamless integration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Delivers freedom to innovate with a standards-compliant independent platform</a:t>
            </a:r>
            <a:endParaRPr lang="en-GB" dirty="0"/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dirty="0"/>
            </a:b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439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a UI that developers fall in love with from the minute they start to use it due to its simplicity, ease of use, yet providing significant power!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Reliable Hybrid Connectivity</a:t>
            </a:r>
            <a:r>
              <a:rPr lang="en-GB" sz="1200" dirty="0"/>
              <a:t>: Manage hybrid portfolios with applications or data which are located both on-premises and in the clo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Extensive Connectivity Toolkit: </a:t>
            </a:r>
            <a:r>
              <a:rPr lang="en-GB" sz="1200" dirty="0"/>
              <a:t>Connectivity options for the most popular SaaS application and a workflow toolkit for every modern protocol or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Broad Developer Support</a:t>
            </a:r>
            <a:r>
              <a:rPr lang="en-GB" sz="1200" dirty="0"/>
              <a:t>: </a:t>
            </a:r>
            <a:r>
              <a:rPr lang="en-US" sz="1200" dirty="0"/>
              <a:t>Democratize your integration projects across the organization. Reduce your integration backlog by building intuitive workflows, quick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Optimized for Scale and Performance: </a:t>
            </a:r>
            <a:r>
              <a:rPr lang="en-US" sz="1200" dirty="0"/>
              <a:t>Performant service architecture ensures your most critical integration workflows run with confidence. With dependable monitoring and repor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39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MTTR measures the maintainability of repairable features and sets the average time to repair a broken feature. Basically, it helps you track the amount of time spent to recover from a failure.</a:t>
            </a:r>
          </a:p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CI/CD reduces the MTTR because the code changes are smaller and fault isolations are easier to detect. One of the most important business risk assurances is to keep failures to a minimum and quickly recover from any failures that do happen. Application monitoring tools are a great way to find and fix failures while also logging the problems to notice trends faster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66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97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6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79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1.xml"/><Relationship Id="rId2" Type="http://schemas.openxmlformats.org/officeDocument/2006/relationships/customXml" Target="../../customXml/item21.xml"/><Relationship Id="rId1" Type="http://schemas.openxmlformats.org/officeDocument/2006/relationships/customXml" Target="../../customXml/item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8.xml"/><Relationship Id="rId2" Type="http://schemas.openxmlformats.org/officeDocument/2006/relationships/customXml" Target="../../customXml/item20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 descr="Place imagery here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8" name="Picture 7" descr="IBM 8-bar logo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9518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607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603199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cxnSp>
        <p:nvCxnSpPr>
          <p:cNvPr id="9" name="Straight Connector 8" descr="Vertical column divider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47819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36805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0" name="Straight Connector 9" descr="Horizontal row divider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76443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7" name="Straight Connector 16" descr="Horizontal row divider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5" name="Straight Connector 14" descr="Horizontal row divider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1160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31349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1" name="Straight Connector 20" descr="Vertical column divider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2" name="Straight Connector 21" descr="Vertical column divider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1023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707034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 descr="Vertical column divider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Picture Placeholder 13" descr="Place pictogram here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3" descr="Place pictogram here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3" descr="Place pictogram here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89940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Blue 10 full slide background 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670438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4967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94512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821703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5605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083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240754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3" name="Straight Connector 12" descr="Vertical column divider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Picture Placeholder 4" descr="Place pictogram here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icture Placeholder 11" descr="Place pictogram here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412524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 descr="Place pictogram here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00A530A6-2F26-DA70-D0D9-6DD90453CE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 descr="Place pictogram here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9C5483A0-0E31-72CE-21C3-6248FAEBC0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6" descr="Place pictogram here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9" name="Picture Placeholder 18" descr="Place pictogram here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49638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3324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81061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878651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36229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82848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05609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24" name="Straight Connector 23" descr="Vertical column divider">
            <a:extLst>
              <a:ext uri="{FF2B5EF4-FFF2-40B4-BE49-F238E27FC236}">
                <a16:creationId xmlns:a16="http://schemas.microsoft.com/office/drawing/2014/main" id="{B5CBE6E3-0E18-8A57-578D-D314948AF1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5" descr="Place icon here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8" name="Straight Connector 27" descr="Vertical column divider">
            <a:extLst>
              <a:ext uri="{FF2B5EF4-FFF2-40B4-BE49-F238E27FC236}">
                <a16:creationId xmlns:a16="http://schemas.microsoft.com/office/drawing/2014/main" id="{52FF3B59-8BBA-8C99-9D4D-743723E434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5" descr="Place icon here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7" name="Straight Connector 26" descr="Vertical column divider">
            <a:extLst>
              <a:ext uri="{FF2B5EF4-FFF2-40B4-BE49-F238E27FC236}">
                <a16:creationId xmlns:a16="http://schemas.microsoft.com/office/drawing/2014/main" id="{47200B05-7E36-4E03-3739-0BA9837646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Picture Placeholder 15" descr="Place icon here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23" name="Straight Connector 22" descr="Horizontal row divider">
            <a:extLst>
              <a:ext uri="{FF2B5EF4-FFF2-40B4-BE49-F238E27FC236}">
                <a16:creationId xmlns:a16="http://schemas.microsoft.com/office/drawing/2014/main" id="{252CDB94-BA57-B58F-95F0-D406FE34BB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icture Placeholder 15" descr="Place icon here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0" name="Picture Placeholder 15" descr="Place icon here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1" name="Picture Placeholder 15" descr="Place icon here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20554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1217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1216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Picture Placeholder 10" descr="Place imagery here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836230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Picture Placeholder 11" descr="Place imagery here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154425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76850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27091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74950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7694905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Picture Placeholder 7" descr="Place bio portrait here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Picture Placeholder 7" descr="Place bio portrait here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Picture Placeholder 7" descr="Place bio portrait here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3" name="Picture Placeholder 7" descr="Place bio portrait here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9" name="Picture Placeholder 7" descr="Place bio portrait here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1" name="Picture Placeholder 7" descr="Place bio portrait here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71927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2902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18795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0503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616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384914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722494" y="1414801"/>
            <a:ext cx="22939186" cy="581026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530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722494" y="2775601"/>
            <a:ext cx="22939186" cy="9331326"/>
          </a:xfrm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23429611" y="-273839"/>
            <a:ext cx="916919" cy="194398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1944000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7805F2-F64C-4816-B6E9-7621B8A534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B4863A1-A120-A246-A856-BFC43A0462C7}" type="datetime1">
              <a:rPr lang="de-DE" smtClean="0"/>
              <a:t>30.01.25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82BDE36-1A1D-410B-96A0-FDCAB934B5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016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G -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1054240" y="3018371"/>
            <a:ext cx="22278700" cy="8911166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4800"/>
            </a:lvl1pPr>
            <a:lvl2pPr>
              <a:buClr>
                <a:schemeClr val="accent3"/>
              </a:buClr>
              <a:defRPr sz="4266"/>
            </a:lvl2pPr>
            <a:lvl3pPr>
              <a:buClr>
                <a:schemeClr val="accent3"/>
              </a:buClr>
              <a:defRPr sz="3734"/>
            </a:lvl3pPr>
            <a:lvl4pPr>
              <a:buClr>
                <a:schemeClr val="accent3"/>
              </a:buClr>
              <a:defRPr sz="3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TO ADD HEADLINE 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4476" y="1499214"/>
            <a:ext cx="21929255" cy="1171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5866" cap="none" baseline="0"/>
            </a:lvl1pPr>
            <a:lvl2pPr>
              <a:defRPr sz="5866"/>
            </a:lvl2pPr>
            <a:lvl3pPr>
              <a:defRPr sz="5866"/>
            </a:lvl3pPr>
            <a:lvl4pPr>
              <a:defRPr sz="5866"/>
            </a:lvl4pPr>
            <a:lvl5pPr>
              <a:defRPr sz="5866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341219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7CD5C-00B9-478F-8031-ACE7B3DE2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5" y="524934"/>
            <a:ext cx="23235025" cy="9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A13FB6-9905-465B-9833-AF58E1A3D4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E75FA5-C509-4590-93CE-878685F65C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3F4E569-E7EF-4B7D-A893-F2E38E7A50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5" y="1676257"/>
            <a:ext cx="23235025" cy="52869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995227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pic>
        <p:nvPicPr>
          <p:cNvPr id="9" name="Picture 8" descr="IBM 8-bar logo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614004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722492" y="1414801"/>
            <a:ext cx="22939186" cy="581026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530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23429611" y="-273839"/>
            <a:ext cx="916919" cy="194398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1944000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A3BE35-C8DD-4F4A-8292-C31878682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07450-B80D-FE49-B970-4731A7163C6D}" type="datetime1">
              <a:rPr lang="de-DE" smtClean="0"/>
              <a:t>30.01.25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67EF4F-8A21-4FEF-AFB0-34DD83BF1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821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0936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30394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83910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80837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669031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04" r:id="rId3"/>
    <p:sldLayoutId id="2147483905" r:id="rId4"/>
    <p:sldLayoutId id="2147483901" r:id="rId5"/>
    <p:sldLayoutId id="2147483692" r:id="rId6"/>
    <p:sldLayoutId id="2147483906" r:id="rId7"/>
    <p:sldLayoutId id="2147483907" r:id="rId8"/>
    <p:sldLayoutId id="2147483910" r:id="rId9"/>
    <p:sldLayoutId id="2147483908" r:id="rId10"/>
    <p:sldLayoutId id="2147483909" r:id="rId11"/>
    <p:sldLayoutId id="2147483912" r:id="rId12"/>
    <p:sldLayoutId id="2147483914" r:id="rId13"/>
    <p:sldLayoutId id="2147483915" r:id="rId14"/>
    <p:sldLayoutId id="2147483913" r:id="rId15"/>
    <p:sldLayoutId id="2147483917" r:id="rId16"/>
    <p:sldLayoutId id="2147483942" r:id="rId17"/>
    <p:sldLayoutId id="2147483919" r:id="rId18"/>
    <p:sldLayoutId id="2147483929" r:id="rId19"/>
    <p:sldLayoutId id="2147483920" r:id="rId20"/>
    <p:sldLayoutId id="2147483930" r:id="rId21"/>
    <p:sldLayoutId id="2147483928" r:id="rId22"/>
    <p:sldLayoutId id="2147483948" r:id="rId23"/>
    <p:sldLayoutId id="2147483927" r:id="rId24"/>
    <p:sldLayoutId id="2147483950" r:id="rId25"/>
    <p:sldLayoutId id="2147483921" r:id="rId26"/>
    <p:sldLayoutId id="2147483916" r:id="rId27"/>
    <p:sldLayoutId id="2147483922" r:id="rId28"/>
    <p:sldLayoutId id="2147483953" r:id="rId29"/>
    <p:sldLayoutId id="2147483956" r:id="rId30"/>
    <p:sldLayoutId id="2147483923" r:id="rId31"/>
    <p:sldLayoutId id="2147483924" r:id="rId32"/>
    <p:sldLayoutId id="2147483926" r:id="rId33"/>
    <p:sldLayoutId id="2147483925" r:id="rId34"/>
    <p:sldLayoutId id="2147483959" r:id="rId35"/>
    <p:sldLayoutId id="2147483937" r:id="rId36"/>
    <p:sldLayoutId id="2147483932" r:id="rId37"/>
    <p:sldLayoutId id="2147483934" r:id="rId38"/>
    <p:sldLayoutId id="2147483935" r:id="rId39"/>
    <p:sldLayoutId id="2147483936" r:id="rId40"/>
    <p:sldLayoutId id="2147483938" r:id="rId41"/>
    <p:sldLayoutId id="2147483939" r:id="rId42"/>
    <p:sldLayoutId id="2147483940" r:id="rId43"/>
    <p:sldLayoutId id="2147483943" r:id="rId44"/>
    <p:sldLayoutId id="2147483960" r:id="rId45"/>
    <p:sldLayoutId id="2147483941" r:id="rId46"/>
    <p:sldLayoutId id="2147483964" r:id="rId47"/>
    <p:sldLayoutId id="2147483965" r:id="rId48"/>
    <p:sldLayoutId id="2147483966" r:id="rId49"/>
    <p:sldLayoutId id="2147483969" r:id="rId50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 userDrawn="1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webmethods.io/integration/apis/webmethods_api_ref/#reference-data-apis" TargetMode="External"/><Relationship Id="rId2" Type="http://schemas.openxmlformats.org/officeDocument/2006/relationships/hyperlink" Target="https://github.com/IBM/webmethods-io-int-cicd" TargetMode="External"/><Relationship Id="rId1" Type="http://schemas.openxmlformats.org/officeDocument/2006/relationships/slideLayout" Target="../slideLayouts/slideLayout50.xml"/><Relationship Id="rId4" Type="http://schemas.openxmlformats.org/officeDocument/2006/relationships/hyperlink" Target="https://github.com/SoftwareAG/webmethods-io-integration-apicli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15.gif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7B690C-9D17-98A7-45F7-4EFA635AE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84" y="384890"/>
            <a:ext cx="11868415" cy="10477660"/>
          </a:xfrm>
        </p:spPr>
        <p:txBody>
          <a:bodyPr/>
          <a:lstStyle/>
          <a:p>
            <a:r>
              <a:rPr lang="en-DE" dirty="0"/>
              <a:t>DevOps 4 webMethods.io Integration</a:t>
            </a:r>
            <a:br>
              <a:rPr lang="en-US" dirty="0">
                <a:solidFill>
                  <a:schemeClr val="accent1"/>
                </a:solidFill>
              </a:rPr>
            </a:br>
            <a:br>
              <a:rPr lang="en-US" dirty="0">
                <a:solidFill>
                  <a:schemeClr val="accent1"/>
                </a:solidFill>
              </a:rPr>
            </a:br>
            <a:endParaRPr lang="en-US" dirty="0"/>
          </a:p>
        </p:txBody>
      </p:sp>
      <p:sp>
        <p:nvSpPr>
          <p:cNvPr id="2" name="TextBox 1" descr="IBM 8-bar logo in black">
            <a:extLst>
              <a:ext uri="{FF2B5EF4-FFF2-40B4-BE49-F238E27FC236}">
                <a16:creationId xmlns:a16="http://schemas.microsoft.com/office/drawing/2014/main" id="{47FF669D-AFD9-83C3-6B35-1F5CF8033F7D}"/>
              </a:ext>
            </a:extLst>
          </p:cNvPr>
          <p:cNvSpPr txBox="1"/>
          <p:nvPr/>
        </p:nvSpPr>
        <p:spPr>
          <a:xfrm>
            <a:off x="890471" y="12750032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376" indent="-446660" defTabSz="2437912">
              <a:spcBef>
                <a:spcPts val="2900"/>
              </a:spcBef>
              <a:buSzPct val="100000"/>
              <a:buFontTx/>
              <a:buChar char="–"/>
            </a:pPr>
            <a:endParaRPr lang="en-US" sz="7200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pic>
        <p:nvPicPr>
          <p:cNvPr id="20" name="Picture Placeholder 19" descr="A circular intersection with blue circles and dots&#10;&#10;Description automatically generated with medium confidence">
            <a:extLst>
              <a:ext uri="{FF2B5EF4-FFF2-40B4-BE49-F238E27FC236}">
                <a16:creationId xmlns:a16="http://schemas.microsoft.com/office/drawing/2014/main" id="{3B56BBE5-8286-2D13-BAA3-744859D62E6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30" b="30"/>
          <a:stretch>
            <a:fillRect/>
          </a:stretch>
        </p:blipFill>
        <p:spPr>
          <a:xfrm rot="10800000">
            <a:off x="12763426" y="570733"/>
            <a:ext cx="11047562" cy="12572950"/>
          </a:xfrm>
        </p:spPr>
      </p:pic>
    </p:spTree>
    <p:extLst>
      <p:ext uri="{BB962C8B-B14F-4D97-AF65-F5344CB8AC3E}">
        <p14:creationId xmlns:p14="http://schemas.microsoft.com/office/powerpoint/2010/main" val="102107994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CE0CB9C-1095-6D74-208F-ED5D727DE203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85" y="2284302"/>
            <a:ext cx="23603544" cy="10307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350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12192088" y="2251619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by executing </a:t>
            </a:r>
            <a:r>
              <a:rPr lang="en-GB" sz="3200" i="1" dirty="0">
                <a:solidFill>
                  <a:srgbClr val="202124"/>
                </a:solidFill>
                <a:latin typeface="arial" panose="020B0604020202020204" pitchFamily="34" charset="0"/>
              </a:rPr>
              <a:t>Initialize Pipeline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his checks if the request is for an existing asset or a new implementat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f new, 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nitialize a repository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reate standardized branches, including requested Feature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reate a project in Play/Build environ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f existing, automation will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lone the Prod branch to Feature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asset to Play/Build environment</a:t>
            </a: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9F067-B110-EFAB-E070-EF2A2C38CC0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41A9948-4292-C52F-C74F-D6C1E0266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3936088"/>
            <a:ext cx="12051626" cy="2105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803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12192088" y="2251619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develop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ce after completion he will execut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Feature</a:t>
            </a:r>
            <a:r>
              <a:rPr lang="en-GB" sz="3200" i="1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Export the asse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ommit the asset to Feature Branch</a:t>
            </a: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6254490-B9F0-CED0-2383-A46DF9266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6" y="7057727"/>
            <a:ext cx="12380122" cy="384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562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DEV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7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ce the implementation is finished, developer manually creates a Pull Request from Feature Branch to DEV.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Dev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heckout the DEV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DEV environmen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DEV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5653397-0A75-2347-FD01-BBDD80EAB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7200" y="3130110"/>
            <a:ext cx="12315758" cy="3258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706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Q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7"/>
            <a:ext cx="11658666" cy="89784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fter Dev cycle is complete, developer manually creates a Pull Request from Feature Branch to QA.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QA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heckout the QA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QA environmen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Q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CACE36F-F407-5176-1100-9790AE2FC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4880" y="4952412"/>
            <a:ext cx="12290706" cy="294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4410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PRO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5"/>
            <a:ext cx="11660166" cy="9645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ce the automated test and UAT is successfully finished, developer manually creates a Pull Request from Feature Branch to PROD.  PROD deployment may have different approval cycle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Respective operations team will manually trigger the </a:t>
            </a:r>
            <a:r>
              <a:rPr lang="en-GB" sz="3200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PROD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heckout the PROD branch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reate a release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PROD environment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</a:t>
            </a:r>
            <a:r>
              <a:rPr lang="en-GB" sz="3200" i="1" dirty="0">
                <a:solidFill>
                  <a:srgbClr val="202124"/>
                </a:solidFill>
                <a:latin typeface="arial" panose="020B0604020202020204" pitchFamily="34" charset="0"/>
              </a:rPr>
              <a:t>Smoke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test, if any for PROD.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 And release will be rolled back.</a:t>
            </a: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32B79F2-F929-9EBC-7F20-7295D67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4439" y="7768683"/>
            <a:ext cx="12551148" cy="3304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262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1F1172-008C-BF67-42AD-3E1D2003E5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97BE0A-3FA8-4BB0-D287-BD8ACBF05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how &amp; Tell / Demo</a:t>
            </a:r>
          </a:p>
        </p:txBody>
      </p:sp>
      <p:pic>
        <p:nvPicPr>
          <p:cNvPr id="1026" name="Picture 2" descr="Tell, Show, Tell Part II – Ace Your Software Demo">
            <a:extLst>
              <a:ext uri="{FF2B5EF4-FFF2-40B4-BE49-F238E27FC236}">
                <a16:creationId xmlns:a16="http://schemas.microsoft.com/office/drawing/2014/main" id="{51B238D0-5DF1-A332-1DEF-D6A1F67D6204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87" r="25287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76447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Scope, Assumptions &amp; Pre-requisites</a:t>
            </a:r>
          </a:p>
          <a:p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6"/>
            <a:ext cx="11660166" cy="9932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3 Environments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lay/Build, Dev &amp; Q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ssets used for demo	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2 Workflows (one with Sub FS), 1 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Flowservice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, Reference Data, Account (Only export), Project Parameters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2 Repository Platforms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Enterprise for Pipelines/Scripts (Automations)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for actual 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</a:rPr>
              <a:t>webMethods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IO asse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Test Framework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&amp; Azure Test Plans</a:t>
            </a:r>
          </a:p>
          <a:p>
            <a:pPr marL="583200" lvl="2" indent="0"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4834" y="6550874"/>
            <a:ext cx="9976086" cy="537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3E1E0F-0BA2-5920-E9FB-2B147D8B3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08809" y="2422342"/>
            <a:ext cx="3696224" cy="412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575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</p:spTree>
    <p:extLst>
      <p:ext uri="{BB962C8B-B14F-4D97-AF65-F5344CB8AC3E}">
        <p14:creationId xmlns:p14="http://schemas.microsoft.com/office/powerpoint/2010/main" val="700500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EBA2C6-36FB-7539-4980-2099018D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99D721-FEF8-EA66-DBD6-6DA8FE53C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7FE4B6-78CB-B651-D113-8F72B3F38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Next</a:t>
            </a:r>
            <a:endParaRPr lang="en-DE" dirty="0"/>
          </a:p>
        </p:txBody>
      </p:sp>
      <p:pic>
        <p:nvPicPr>
          <p:cNvPr id="2052" name="Picture 4" descr="What's Next Launching">
            <a:extLst>
              <a:ext uri="{FF2B5EF4-FFF2-40B4-BE49-F238E27FC236}">
                <a16:creationId xmlns:a16="http://schemas.microsoft.com/office/drawing/2014/main" id="{1DA68501-289B-69B4-7033-780F6DC8CD34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2" r="2087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568951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09C514C-BA4F-0491-187F-C776E7A15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942C0033-749A-F3A6-9A05-1AC7C6EF63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AGENDA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D431EC-E3A1-CDBC-6DA3-876F51F0A55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57156B-7E35-A1E8-4687-1B6F7F013F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385673-0E74-2F69-5D48-405514F267E4}"/>
              </a:ext>
            </a:extLst>
          </p:cNvPr>
          <p:cNvSpPr txBox="1">
            <a:spLocks/>
          </p:cNvSpPr>
          <p:nvPr/>
        </p:nvSpPr>
        <p:spPr>
          <a:xfrm>
            <a:off x="725655" y="2783971"/>
            <a:ext cx="22934532" cy="9322306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sz="32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</a:t>
            </a:r>
            <a:r>
              <a:rPr lang="en-GB" sz="3200" dirty="0" err="1"/>
              <a:t>webMethods.io</a:t>
            </a:r>
            <a:r>
              <a:rPr lang="en-GB" sz="3200" dirty="0"/>
              <a:t> IPaa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DevOps Requirement &amp; Benefi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Contex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/>
              <a:t> Use case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GIT Workflo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Delivery / Deployment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Implementation to Delivery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3200" b="1" dirty="0"/>
              <a:t> Demo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Scope, Assumptions &amp; Pre-requisites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sz="3200" dirty="0"/>
              <a:t>Demo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3200" b="1" dirty="0"/>
          </a:p>
          <a:p>
            <a:endParaRPr lang="en-GB" sz="3200" b="1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C63BB104-2BE5-7433-B1AE-516BAE42D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7538" y="3532769"/>
            <a:ext cx="5363434" cy="536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93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Extend &amp; Exp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ore connector tes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Integration with Hybrid DevOp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Test Coverag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Code Re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888787" y="655320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en-DE" sz="7200"/>
          </a:p>
        </p:txBody>
      </p:sp>
    </p:spTree>
    <p:extLst>
      <p:ext uri="{BB962C8B-B14F-4D97-AF65-F5344CB8AC3E}">
        <p14:creationId xmlns:p14="http://schemas.microsoft.com/office/powerpoint/2010/main" val="2747689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Projec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Accoun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Direct Git Integration (Origin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ultiple runtime support (Origin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888787" y="655320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en-DE" sz="7200"/>
          </a:p>
        </p:txBody>
      </p:sp>
    </p:spTree>
    <p:extLst>
      <p:ext uri="{BB962C8B-B14F-4D97-AF65-F5344CB8AC3E}">
        <p14:creationId xmlns:p14="http://schemas.microsoft.com/office/powerpoint/2010/main" val="37469191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08500-5F7E-77ED-9190-5F67A1448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Reference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2EEC4-EDF4-32FB-C153-580F215B4BCB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329A10-DA97-3814-9652-53A5D5609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A60C20-68F3-AD76-E1E7-2A56DE2965BC}"/>
              </a:ext>
            </a:extLst>
          </p:cNvPr>
          <p:cNvSpPr txBox="1"/>
          <p:nvPr/>
        </p:nvSpPr>
        <p:spPr>
          <a:xfrm>
            <a:off x="2185987" y="353906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marL="571500" indent="-571500" defTabSz="1944000">
              <a:lnSpc>
                <a:spcPct val="120000"/>
              </a:lnSpc>
              <a:spcAft>
                <a:spcPts val="1530"/>
              </a:spcAft>
              <a:buFont typeface="Wingdings" pitchFamily="2" charset="2"/>
              <a:buChar char="ü"/>
            </a:pPr>
            <a:endParaRPr lang="en-DE" sz="7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069D34-8C89-241E-01D9-28D8C32D0537}"/>
              </a:ext>
            </a:extLst>
          </p:cNvPr>
          <p:cNvSpPr txBox="1"/>
          <p:nvPr/>
        </p:nvSpPr>
        <p:spPr>
          <a:xfrm>
            <a:off x="1102253" y="287866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E588EF-4DAF-1DAF-732B-250E6A198BDB}"/>
              </a:ext>
            </a:extLst>
          </p:cNvPr>
          <p:cNvSpPr txBox="1"/>
          <p:nvPr/>
        </p:nvSpPr>
        <p:spPr>
          <a:xfrm>
            <a:off x="1034521" y="3302000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16697D1-0923-B71B-8A18-8DAECB3FBD2F}"/>
              </a:ext>
            </a:extLst>
          </p:cNvPr>
          <p:cNvSpPr txBox="1">
            <a:spLocks/>
          </p:cNvSpPr>
          <p:nvPr/>
        </p:nvSpPr>
        <p:spPr>
          <a:xfrm>
            <a:off x="723987" y="2775601"/>
            <a:ext cx="22936200" cy="9331326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Repository for automation, scripts &amp; sample assets: 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https://github.com/IBM/webmethods-io-int-cicd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PI Documentation: 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https:/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docs.webmethods.io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integration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webmethods_api_ref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#reference-data-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LI Repository: 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https:/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github.com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SoftwareAG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webmethods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-io-integration-</a:t>
            </a:r>
            <a:r>
              <a:rPr lang="en-GB" sz="3200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apicli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sz="3200" dirty="0"/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</p:txBody>
      </p:sp>
    </p:spTree>
    <p:extLst>
      <p:ext uri="{BB962C8B-B14F-4D97-AF65-F5344CB8AC3E}">
        <p14:creationId xmlns:p14="http://schemas.microsoft.com/office/powerpoint/2010/main" val="35427586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818525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9C4B561-BB45-3440-AD3D-C0A7B796C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Pa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A7C3F3-FBF8-1442-A702-6E1A0A9AC3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tegration, B2B, MFT and API Managemen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0552AF-8BB8-E541-8E36-099062F7FCAF}"/>
              </a:ext>
            </a:extLst>
          </p:cNvPr>
          <p:cNvGrpSpPr/>
          <p:nvPr/>
        </p:nvGrpSpPr>
        <p:grpSpPr>
          <a:xfrm>
            <a:off x="-21646" y="4054753"/>
            <a:ext cx="24407234" cy="6990634"/>
            <a:chOff x="-8713" y="1533302"/>
            <a:chExt cx="9152713" cy="2621488"/>
          </a:xfrm>
          <a:solidFill>
            <a:schemeClr val="tx2"/>
          </a:solidFill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7B946B7-B54C-604D-A438-C66C611517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7ACD6BB-682A-214E-96D3-4B2B39916D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34438"/>
              <a:ext cx="5007430" cy="2620352"/>
            </a:xfrm>
            <a:prstGeom prst="rect">
              <a:avLst/>
            </a:prstGeom>
            <a:grpFill/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37E1904-55D8-B349-A581-AA99F674A005}"/>
              </a:ext>
            </a:extLst>
          </p:cNvPr>
          <p:cNvGrpSpPr/>
          <p:nvPr/>
        </p:nvGrpSpPr>
        <p:grpSpPr>
          <a:xfrm>
            <a:off x="10145334" y="4553069"/>
            <a:ext cx="12829510" cy="6162638"/>
            <a:chOff x="5300318" y="1296814"/>
            <a:chExt cx="3981015" cy="2213314"/>
          </a:xfrm>
          <a:solidFill>
            <a:schemeClr val="bg2"/>
          </a:solidFill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ADFE78B6-6D78-3246-B392-FFA3C0BBF6E9}"/>
                </a:ext>
              </a:extLst>
            </p:cNvPr>
            <p:cNvSpPr/>
            <p:nvPr/>
          </p:nvSpPr>
          <p:spPr>
            <a:xfrm>
              <a:off x="5667146" y="2753833"/>
              <a:ext cx="3248241" cy="754912"/>
            </a:xfrm>
            <a:prstGeom prst="roundRect">
              <a:avLst>
                <a:gd name="adj" fmla="val 485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076754B-A853-8B47-862F-85E28440E949}"/>
                </a:ext>
              </a:extLst>
            </p:cNvPr>
            <p:cNvSpPr/>
            <p:nvPr/>
          </p:nvSpPr>
          <p:spPr>
            <a:xfrm>
              <a:off x="5300318" y="2181709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63D6640-82D1-7F45-B833-A91CB1041F9A}"/>
                </a:ext>
              </a:extLst>
            </p:cNvPr>
            <p:cNvSpPr/>
            <p:nvPr/>
          </p:nvSpPr>
          <p:spPr>
            <a:xfrm>
              <a:off x="5971341" y="1296814"/>
              <a:ext cx="2037141" cy="212641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A43C967-0B26-C042-A08B-7EC316F7A2C7}"/>
                </a:ext>
              </a:extLst>
            </p:cNvPr>
            <p:cNvSpPr/>
            <p:nvPr/>
          </p:nvSpPr>
          <p:spPr>
            <a:xfrm>
              <a:off x="8021364" y="2194944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BFEC1BC-C7B2-F04F-A2A6-9A2D6E30E96A}"/>
                </a:ext>
              </a:extLst>
            </p:cNvPr>
            <p:cNvSpPr/>
            <p:nvPr/>
          </p:nvSpPr>
          <p:spPr>
            <a:xfrm>
              <a:off x="7285159" y="1877432"/>
              <a:ext cx="1394346" cy="13806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3734" b="1">
                <a:solidFill>
                  <a:prstClr val="white"/>
                </a:solidFill>
                <a:latin typeface="Rubik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B6DFDF0-A680-A748-B0B0-0BFC8C2D5276}"/>
              </a:ext>
            </a:extLst>
          </p:cNvPr>
          <p:cNvSpPr txBox="1"/>
          <p:nvPr/>
        </p:nvSpPr>
        <p:spPr>
          <a:xfrm>
            <a:off x="2631519" y="5068154"/>
            <a:ext cx="6699783" cy="820866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828754">
              <a:spcBef>
                <a:spcPts val="1152"/>
              </a:spcBef>
              <a:buClr>
                <a:prstClr val="white">
                  <a:lumMod val="50000"/>
                </a:prstClr>
              </a:buClr>
              <a:defRPr/>
            </a:pPr>
            <a:r>
              <a:rPr lang="en-US" sz="5334" b="1">
                <a:solidFill>
                  <a:prstClr val="white"/>
                </a:solidFill>
                <a:latin typeface="Rubik"/>
              </a:rPr>
              <a:t>MULTI-FUNCTION iPa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C9A8E3-40F0-2446-8ECF-684CBE878401}"/>
              </a:ext>
            </a:extLst>
          </p:cNvPr>
          <p:cNvSpPr/>
          <p:nvPr/>
        </p:nvSpPr>
        <p:spPr>
          <a:xfrm>
            <a:off x="2637992" y="6034515"/>
            <a:ext cx="6562181" cy="82048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828754">
              <a:spcBef>
                <a:spcPts val="1152"/>
              </a:spcBef>
              <a:buClr>
                <a:prstClr val="white"/>
              </a:buClr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for LOW-CODE and HIGH-CONTROL developers </a:t>
            </a:r>
            <a:br>
              <a:rPr lang="en-US" sz="2666">
                <a:solidFill>
                  <a:prstClr val="white"/>
                </a:solidFill>
                <a:latin typeface="Rubik"/>
              </a:rPr>
            </a:br>
            <a:r>
              <a:rPr lang="en-US" sz="2666">
                <a:solidFill>
                  <a:prstClr val="white"/>
                </a:solidFill>
                <a:latin typeface="Rubik"/>
              </a:rPr>
              <a:t>deployed across a MULTI-CLOUD infrastructure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1B0CDE-A670-8343-B9AB-68524B9AE005}"/>
              </a:ext>
            </a:extLst>
          </p:cNvPr>
          <p:cNvSpPr txBox="1"/>
          <p:nvPr/>
        </p:nvSpPr>
        <p:spPr>
          <a:xfrm>
            <a:off x="2781829" y="7327584"/>
            <a:ext cx="4667945" cy="323088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Cloud and Hybrid Connectivity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Orchestration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Guided development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Recipes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2666">
                <a:solidFill>
                  <a:prstClr val="white"/>
                </a:solidFill>
                <a:latin typeface="Rubik"/>
              </a:rPr>
              <a:t>Monitoring</a:t>
            </a:r>
          </a:p>
          <a:p>
            <a:pPr marL="457188" indent="-457188" defTabSz="1828754">
              <a:spcBef>
                <a:spcPts val="1152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endParaRPr lang="en-US" sz="2666">
              <a:solidFill>
                <a:prstClr val="white"/>
              </a:solidFill>
              <a:latin typeface="Rubik"/>
            </a:endParaRPr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0E1D1CCE-E596-144A-A483-3E5721CCF269}"/>
              </a:ext>
            </a:extLst>
          </p:cNvPr>
          <p:cNvSpPr/>
          <p:nvPr/>
        </p:nvSpPr>
        <p:spPr>
          <a:xfrm>
            <a:off x="12393249" y="6102267"/>
            <a:ext cx="7283704" cy="2931886"/>
          </a:xfrm>
          <a:prstGeom prst="triangle">
            <a:avLst>
              <a:gd name="adj" fmla="val 50692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  <a:defRPr/>
            </a:pPr>
            <a:endParaRPr lang="en-US" sz="3734" b="1">
              <a:solidFill>
                <a:prstClr val="white"/>
              </a:solidFill>
              <a:latin typeface="Rubik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9B1B3D6-0E9B-954C-92A2-DF7C3FC9FF4A}"/>
              </a:ext>
            </a:extLst>
          </p:cNvPr>
          <p:cNvGrpSpPr/>
          <p:nvPr/>
        </p:nvGrpSpPr>
        <p:grpSpPr>
          <a:xfrm>
            <a:off x="11809345" y="7357152"/>
            <a:ext cx="1985152" cy="1985152"/>
            <a:chOff x="229132" y="1797750"/>
            <a:chExt cx="1548000" cy="15480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4210108-5C27-9F4A-91F7-2D9A0FC0F8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7200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8328D16-7A18-CD47-A7BC-695D6DB6C7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r>
                <a:rPr lang="en-US" sz="3730" b="1" dirty="0">
                  <a:solidFill>
                    <a:prstClr val="white"/>
                  </a:solidFill>
                  <a:latin typeface="Rubik"/>
                </a:rPr>
                <a:t>B2B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85232D-98C9-2E4A-BCA1-BF9F17955D39}"/>
              </a:ext>
            </a:extLst>
          </p:cNvPr>
          <p:cNvGrpSpPr/>
          <p:nvPr/>
        </p:nvGrpSpPr>
        <p:grpSpPr>
          <a:xfrm>
            <a:off x="15042523" y="5073774"/>
            <a:ext cx="1985152" cy="1985152"/>
            <a:chOff x="229132" y="1797750"/>
            <a:chExt cx="1548000" cy="1548000"/>
          </a:xfrm>
          <a:solidFill>
            <a:schemeClr val="accent2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3E4BAA9-AE0B-944A-B827-52A126B926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7200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1E723DE-2BBA-CE42-9D5A-E7CFFBFB37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r>
                <a:rPr lang="en-US" sz="3730" b="1" dirty="0">
                  <a:solidFill>
                    <a:prstClr val="white"/>
                  </a:solidFill>
                  <a:latin typeface="Rubik"/>
                </a:rPr>
                <a:t>API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3862317-67F4-0B48-8630-2FC9F1137D63}"/>
              </a:ext>
            </a:extLst>
          </p:cNvPr>
          <p:cNvGrpSpPr/>
          <p:nvPr/>
        </p:nvGrpSpPr>
        <p:grpSpPr>
          <a:xfrm>
            <a:off x="18309465" y="7334984"/>
            <a:ext cx="1985152" cy="1985152"/>
            <a:chOff x="229132" y="1797750"/>
            <a:chExt cx="1548000" cy="1548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4BB6742-E218-E746-80AB-0B718006A7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endParaRPr lang="en-US" sz="7200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2758893-B4C5-C445-860A-AEF48073F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  <a:defRPr/>
              </a:pPr>
              <a:r>
                <a:rPr lang="en-US" sz="3730" b="1" dirty="0">
                  <a:solidFill>
                    <a:prstClr val="white"/>
                  </a:solidFill>
                  <a:latin typeface="Rubik"/>
                </a:rPr>
                <a:t>MFT</a:t>
              </a:r>
            </a:p>
          </p:txBody>
        </p:sp>
      </p:grp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3D99E14E-2F6F-1643-92F4-8A5D391113E1}"/>
              </a:ext>
            </a:extLst>
          </p:cNvPr>
          <p:cNvSpPr/>
          <p:nvPr/>
        </p:nvSpPr>
        <p:spPr>
          <a:xfrm>
            <a:off x="13970579" y="7461923"/>
            <a:ext cx="4128000" cy="113841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  <a:defRPr/>
            </a:pPr>
            <a:endParaRPr lang="en-US" sz="3734" b="1">
              <a:solidFill>
                <a:prstClr val="white"/>
              </a:solidFill>
              <a:latin typeface="Rubik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82A4502-7720-384F-94F5-B5494A3FC557}"/>
              </a:ext>
            </a:extLst>
          </p:cNvPr>
          <p:cNvSpPr/>
          <p:nvPr/>
        </p:nvSpPr>
        <p:spPr>
          <a:xfrm>
            <a:off x="14088288" y="7550070"/>
            <a:ext cx="3893630" cy="94355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  <a:defRPr/>
            </a:pPr>
            <a:r>
              <a:rPr lang="en-US" sz="3734" b="1" dirty="0">
                <a:solidFill>
                  <a:prstClr val="white"/>
                </a:solidFill>
                <a:latin typeface="Rubik"/>
              </a:rPr>
              <a:t>INTEGRATION</a:t>
            </a:r>
          </a:p>
        </p:txBody>
      </p:sp>
      <p:pic>
        <p:nvPicPr>
          <p:cNvPr id="48" name="Picture 9">
            <a:extLst>
              <a:ext uri="{FF2B5EF4-FFF2-40B4-BE49-F238E27FC236}">
                <a16:creationId xmlns:a16="http://schemas.microsoft.com/office/drawing/2014/main" id="{24082416-58EA-994E-80D1-7F48B35D1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84510" y="9765137"/>
            <a:ext cx="8140862" cy="551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856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>
            <a:extLst>
              <a:ext uri="{FF2B5EF4-FFF2-40B4-BE49-F238E27FC236}">
                <a16:creationId xmlns:a16="http://schemas.microsoft.com/office/drawing/2014/main" id="{866F270E-78F3-EB4D-AE93-AAC30AC96C1E}"/>
              </a:ext>
            </a:extLst>
          </p:cNvPr>
          <p:cNvGrpSpPr/>
          <p:nvPr/>
        </p:nvGrpSpPr>
        <p:grpSpPr>
          <a:xfrm>
            <a:off x="-21646" y="3916495"/>
            <a:ext cx="24407234" cy="7610494"/>
            <a:chOff x="-8713" y="1527876"/>
            <a:chExt cx="9152713" cy="2628050"/>
          </a:xfrm>
          <a:solidFill>
            <a:schemeClr val="accent4"/>
          </a:solidFill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389AFD8D-93EF-D94D-8FE3-B3A6DDE1F4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192C7737-F991-CC40-AEBA-BA663423B1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27876"/>
              <a:ext cx="5007430" cy="2628050"/>
            </a:xfrm>
            <a:prstGeom prst="rect">
              <a:avLst/>
            </a:prstGeom>
            <a:grpFill/>
          </p:spPr>
        </p:pic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0E7BF0C4-375E-AB41-BBED-10DD527B0BD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817" y="3429297"/>
            <a:ext cx="15659544" cy="9256530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AF4C1BD4-7712-D349-AD2B-902E4CA759FD}"/>
              </a:ext>
            </a:extLst>
          </p:cNvPr>
          <p:cNvSpPr/>
          <p:nvPr/>
        </p:nvSpPr>
        <p:spPr>
          <a:xfrm>
            <a:off x="18132271" y="6325024"/>
            <a:ext cx="5952472" cy="9128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lvl="1" algn="ctr" defTabSz="1828754">
              <a:spcBef>
                <a:spcPts val="1152"/>
              </a:spcBef>
              <a:buClr>
                <a:srgbClr val="011F3D"/>
              </a:buClr>
            </a:pPr>
            <a:r>
              <a:rPr lang="en-US" sz="2666" dirty="0">
                <a:solidFill>
                  <a:srgbClr val="FFFFFF"/>
                </a:solidFill>
                <a:latin typeface="Rubik"/>
              </a:rPr>
              <a:t>Extensive </a:t>
            </a:r>
            <a:br>
              <a:rPr lang="en-US" sz="2666" dirty="0">
                <a:solidFill>
                  <a:srgbClr val="FFFFFF"/>
                </a:solidFill>
                <a:latin typeface="Rubik"/>
              </a:rPr>
            </a:br>
            <a:r>
              <a:rPr lang="en-US" sz="2666" dirty="0">
                <a:solidFill>
                  <a:srgbClr val="FFFFFF"/>
                </a:solidFill>
                <a:latin typeface="Rubik"/>
              </a:rPr>
              <a:t>Connectivity Toolki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BD31DFF-2DE0-1D4A-A9D0-7F5A6C859522}"/>
              </a:ext>
            </a:extLst>
          </p:cNvPr>
          <p:cNvSpPr/>
          <p:nvPr/>
        </p:nvSpPr>
        <p:spPr>
          <a:xfrm>
            <a:off x="18846980" y="10006410"/>
            <a:ext cx="4513314" cy="912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754">
              <a:spcBef>
                <a:spcPts val="800"/>
              </a:spcBef>
            </a:pPr>
            <a:r>
              <a:rPr lang="en-US" sz="2666">
                <a:solidFill>
                  <a:srgbClr val="FFFFFF"/>
                </a:solidFill>
                <a:latin typeface="Rubik"/>
              </a:rPr>
              <a:t>Optimized for </a:t>
            </a:r>
            <a:br>
              <a:rPr lang="en-US" sz="2666">
                <a:solidFill>
                  <a:srgbClr val="FFFFFF"/>
                </a:solidFill>
                <a:latin typeface="Rubik"/>
              </a:rPr>
            </a:br>
            <a:r>
              <a:rPr lang="en-US" sz="2666">
                <a:solidFill>
                  <a:srgbClr val="FFFFFF"/>
                </a:solidFill>
                <a:latin typeface="Rubik"/>
              </a:rPr>
              <a:t>Scale and Performanc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11DF23EB-BC5E-5D42-997C-77B392D5C172}"/>
              </a:ext>
            </a:extLst>
          </p:cNvPr>
          <p:cNvSpPr/>
          <p:nvPr/>
        </p:nvSpPr>
        <p:spPr>
          <a:xfrm>
            <a:off x="20142244" y="8073799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pic>
        <p:nvPicPr>
          <p:cNvPr id="31" name="Picture 30" descr="Icons_Settings06.png">
            <a:extLst>
              <a:ext uri="{FF2B5EF4-FFF2-40B4-BE49-F238E27FC236}">
                <a16:creationId xmlns:a16="http://schemas.microsoft.com/office/drawing/2014/main" id="{3FF82CCC-DF96-B943-ABFE-C70F51CAF2C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73276" y="8388365"/>
            <a:ext cx="1260714" cy="126071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ntegr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5334" dirty="0"/>
              <a:t>Quickly integrate applications in the cloud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C49B03B-2181-4447-92FA-F70023C33B42}"/>
              </a:ext>
            </a:extLst>
          </p:cNvPr>
          <p:cNvSpPr/>
          <p:nvPr/>
        </p:nvSpPr>
        <p:spPr>
          <a:xfrm>
            <a:off x="20142244" y="4413795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8276EDE-61DC-CC49-B925-A269A71EE8A3}"/>
              </a:ext>
            </a:extLst>
          </p:cNvPr>
          <p:cNvSpPr/>
          <p:nvPr/>
        </p:nvSpPr>
        <p:spPr>
          <a:xfrm>
            <a:off x="1116934" y="10006413"/>
            <a:ext cx="4513314" cy="1015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754">
              <a:spcBef>
                <a:spcPts val="800"/>
              </a:spcBef>
            </a:pPr>
            <a:r>
              <a:rPr lang="en-US" sz="2666">
                <a:solidFill>
                  <a:srgbClr val="FFFFFF"/>
                </a:solidFill>
                <a:latin typeface="Rubik"/>
              </a:rPr>
              <a:t>Broad </a:t>
            </a:r>
          </a:p>
          <a:p>
            <a:pPr algn="ctr" defTabSz="1828754">
              <a:spcBef>
                <a:spcPts val="800"/>
              </a:spcBef>
            </a:pPr>
            <a:r>
              <a:rPr lang="en-US" sz="2666">
                <a:solidFill>
                  <a:srgbClr val="FFFFFF"/>
                </a:solidFill>
                <a:latin typeface="Rubik"/>
              </a:rPr>
              <a:t>Developer Support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0BBC99F1-9797-B146-8F24-BE7F99F11EA6}"/>
              </a:ext>
            </a:extLst>
          </p:cNvPr>
          <p:cNvSpPr/>
          <p:nvPr/>
        </p:nvSpPr>
        <p:spPr>
          <a:xfrm>
            <a:off x="2412200" y="8073799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8F6DF06F-F8E9-6544-9CCB-FF2A7469801E}"/>
              </a:ext>
            </a:extLst>
          </p:cNvPr>
          <p:cNvSpPr/>
          <p:nvPr/>
        </p:nvSpPr>
        <p:spPr>
          <a:xfrm>
            <a:off x="2412200" y="4413795"/>
            <a:ext cx="1922778" cy="1876142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de-DE" sz="3734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BE0E8C6-8BF5-124D-AEB4-01AE43180B82}"/>
              </a:ext>
            </a:extLst>
          </p:cNvPr>
          <p:cNvSpPr/>
          <p:nvPr/>
        </p:nvSpPr>
        <p:spPr>
          <a:xfrm>
            <a:off x="1116934" y="6283398"/>
            <a:ext cx="4423266" cy="912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828754">
              <a:spcBef>
                <a:spcPts val="1152"/>
              </a:spcBef>
              <a:buClr>
                <a:srgbClr val="011F3D"/>
              </a:buClr>
            </a:pPr>
            <a:r>
              <a:rPr lang="en-US" sz="2666" dirty="0">
                <a:solidFill>
                  <a:srgbClr val="FFFFFF"/>
                </a:solidFill>
                <a:latin typeface="Rubik"/>
              </a:rPr>
              <a:t>Rapid </a:t>
            </a:r>
            <a:br>
              <a:rPr lang="en-US" sz="2666" dirty="0">
                <a:solidFill>
                  <a:srgbClr val="011F3D"/>
                </a:solidFill>
                <a:latin typeface="Rubik"/>
              </a:rPr>
            </a:br>
            <a:r>
              <a:rPr lang="en-US" sz="2666" dirty="0">
                <a:solidFill>
                  <a:srgbClr val="FFFFFF"/>
                </a:solidFill>
                <a:latin typeface="Rubik"/>
              </a:rPr>
              <a:t>Workflow Development</a:t>
            </a:r>
          </a:p>
        </p:txBody>
      </p:sp>
      <p:pic>
        <p:nvPicPr>
          <p:cNvPr id="43" name="Grafik 17">
            <a:extLst>
              <a:ext uri="{FF2B5EF4-FFF2-40B4-BE49-F238E27FC236}">
                <a16:creationId xmlns:a16="http://schemas.microsoft.com/office/drawing/2014/main" id="{0E5987E1-6211-C645-BA89-581C297555B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1686" y="8388365"/>
            <a:ext cx="1266098" cy="1266098"/>
          </a:xfrm>
          <a:prstGeom prst="rect">
            <a:avLst/>
          </a:prstGeom>
        </p:spPr>
      </p:pic>
      <p:pic>
        <p:nvPicPr>
          <p:cNvPr id="46" name="Grafik 408">
            <a:extLst>
              <a:ext uri="{FF2B5EF4-FFF2-40B4-BE49-F238E27FC236}">
                <a16:creationId xmlns:a16="http://schemas.microsoft.com/office/drawing/2014/main" id="{8D462878-EC9C-D440-8FDF-54E70D8B0A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86338" y="4672837"/>
            <a:ext cx="1288538" cy="135132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5E5C0E-F0AA-6B45-8F31-686455C92C46}"/>
              </a:ext>
            </a:extLst>
          </p:cNvPr>
          <p:cNvSpPr/>
          <p:nvPr/>
        </p:nvSpPr>
        <p:spPr>
          <a:xfrm>
            <a:off x="6402333" y="5851682"/>
            <a:ext cx="8575384" cy="466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754">
              <a:spcBef>
                <a:spcPts val="800"/>
              </a:spcBef>
            </a:pPr>
            <a:endParaRPr lang="en-US" sz="3734" b="1">
              <a:solidFill>
                <a:srgbClr val="FFFFFF"/>
              </a:solidFill>
              <a:latin typeface="Rubik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A20331-A841-0F4B-BB3C-A98A4526672B}"/>
              </a:ext>
            </a:extLst>
          </p:cNvPr>
          <p:cNvGrpSpPr/>
          <p:nvPr/>
        </p:nvGrpSpPr>
        <p:grpSpPr>
          <a:xfrm>
            <a:off x="2626879" y="4936825"/>
            <a:ext cx="1493416" cy="830074"/>
            <a:chOff x="2408084" y="1524658"/>
            <a:chExt cx="1111615" cy="48256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F554958-FD5D-B249-9627-85B50ED2327C}"/>
                </a:ext>
              </a:extLst>
            </p:cNvPr>
            <p:cNvSpPr/>
            <p:nvPr/>
          </p:nvSpPr>
          <p:spPr>
            <a:xfrm>
              <a:off x="2408084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E82CE9-69E7-C448-870F-4994CAF31BFE}"/>
                </a:ext>
              </a:extLst>
            </p:cNvPr>
            <p:cNvSpPr/>
            <p:nvPr/>
          </p:nvSpPr>
          <p:spPr>
            <a:xfrm>
              <a:off x="2553366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C48EBC-4A16-7A4E-A956-14922CC222D1}"/>
                </a:ext>
              </a:extLst>
            </p:cNvPr>
            <p:cNvSpPr/>
            <p:nvPr/>
          </p:nvSpPr>
          <p:spPr>
            <a:xfrm>
              <a:off x="2552480" y="1524658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9BC3D08-1AD9-F743-B1AC-7378D2C7887F}"/>
                </a:ext>
              </a:extLst>
            </p:cNvPr>
            <p:cNvSpPr/>
            <p:nvPr/>
          </p:nvSpPr>
          <p:spPr>
            <a:xfrm>
              <a:off x="3005177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E3BCB7-A4E4-1A4F-AE9C-E51471C65C00}"/>
                </a:ext>
              </a:extLst>
            </p:cNvPr>
            <p:cNvSpPr/>
            <p:nvPr/>
          </p:nvSpPr>
          <p:spPr>
            <a:xfrm>
              <a:off x="2785701" y="1892883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705AE3F-564F-124F-ABC0-28DD15C4A3AD}"/>
                </a:ext>
              </a:extLst>
            </p:cNvPr>
            <p:cNvSpPr/>
            <p:nvPr/>
          </p:nvSpPr>
          <p:spPr>
            <a:xfrm>
              <a:off x="3430782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6" name="Diamond 35">
              <a:extLst>
                <a:ext uri="{FF2B5EF4-FFF2-40B4-BE49-F238E27FC236}">
                  <a16:creationId xmlns:a16="http://schemas.microsoft.com/office/drawing/2014/main" id="{8B1D5ABA-4088-E64E-AD44-2C3260BD9061}"/>
                </a:ext>
              </a:extLst>
            </p:cNvPr>
            <p:cNvSpPr/>
            <p:nvPr/>
          </p:nvSpPr>
          <p:spPr>
            <a:xfrm>
              <a:off x="2835235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B2F242C-0170-D64E-8E82-215005D5337E}"/>
                </a:ext>
              </a:extLst>
            </p:cNvPr>
            <p:cNvCxnSpPr/>
            <p:nvPr/>
          </p:nvCxnSpPr>
          <p:spPr>
            <a:xfrm>
              <a:off x="2486682" y="1756252"/>
              <a:ext cx="66684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21F1B2A-9812-AD4D-A951-2E360DFA7E59}"/>
                </a:ext>
              </a:extLst>
            </p:cNvPr>
            <p:cNvCxnSpPr>
              <a:endCxn id="36" idx="1"/>
            </p:cNvCxnSpPr>
            <p:nvPr/>
          </p:nvCxnSpPr>
          <p:spPr>
            <a:xfrm flipV="1">
              <a:off x="2762956" y="1756252"/>
              <a:ext cx="72279" cy="1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A2FFFCDC-286F-B34B-B6F6-D9E63576F68B}"/>
                </a:ext>
              </a:extLst>
            </p:cNvPr>
            <p:cNvCxnSpPr>
              <a:stCxn id="36" idx="3"/>
            </p:cNvCxnSpPr>
            <p:nvPr/>
          </p:nvCxnSpPr>
          <p:spPr>
            <a:xfrm>
              <a:off x="2945757" y="1756252"/>
              <a:ext cx="6630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D1727EE2-F6C2-684B-BE69-9C64377379E5}"/>
                </a:ext>
              </a:extLst>
            </p:cNvPr>
            <p:cNvCxnSpPr>
              <a:stCxn id="30" idx="3"/>
              <a:endCxn id="52" idx="1"/>
            </p:cNvCxnSpPr>
            <p:nvPr/>
          </p:nvCxnSpPr>
          <p:spPr>
            <a:xfrm flipV="1">
              <a:off x="3214767" y="1756252"/>
              <a:ext cx="48342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5769B3A-8664-2840-85C8-D2629B7F15EE}"/>
                </a:ext>
              </a:extLst>
            </p:cNvPr>
            <p:cNvCxnSpPr>
              <a:stCxn id="36" idx="2"/>
              <a:endCxn id="34" idx="0"/>
            </p:cNvCxnSpPr>
            <p:nvPr/>
          </p:nvCxnSpPr>
          <p:spPr>
            <a:xfrm>
              <a:off x="2890496" y="1811513"/>
              <a:ext cx="0" cy="8137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>
              <a:extLst>
                <a:ext uri="{FF2B5EF4-FFF2-40B4-BE49-F238E27FC236}">
                  <a16:creationId xmlns:a16="http://schemas.microsoft.com/office/drawing/2014/main" id="{E7F83BC3-0983-F643-96C2-0AE6151DB56B}"/>
                </a:ext>
              </a:extLst>
            </p:cNvPr>
            <p:cNvCxnSpPr>
              <a:stCxn id="34" idx="3"/>
              <a:endCxn id="52" idx="2"/>
            </p:cNvCxnSpPr>
            <p:nvPr/>
          </p:nvCxnSpPr>
          <p:spPr>
            <a:xfrm flipV="1">
              <a:off x="2995291" y="1811513"/>
              <a:ext cx="323079" cy="138538"/>
            </a:xfrm>
            <a:prstGeom prst="bentConnector2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24E031F-07FE-3E4B-B822-5CB3FFC1CDC7}"/>
                </a:ext>
              </a:extLst>
            </p:cNvPr>
            <p:cNvCxnSpPr>
              <a:stCxn id="28" idx="0"/>
              <a:endCxn id="29" idx="2"/>
            </p:cNvCxnSpPr>
            <p:nvPr/>
          </p:nvCxnSpPr>
          <p:spPr>
            <a:xfrm flipH="1" flipV="1">
              <a:off x="2657275" y="1638994"/>
              <a:ext cx="886" cy="6009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Diamond 51">
              <a:extLst>
                <a:ext uri="{FF2B5EF4-FFF2-40B4-BE49-F238E27FC236}">
                  <a16:creationId xmlns:a16="http://schemas.microsoft.com/office/drawing/2014/main" id="{FDD0B5AD-C316-CD46-A870-18B98ABE0B55}"/>
                </a:ext>
              </a:extLst>
            </p:cNvPr>
            <p:cNvSpPr/>
            <p:nvPr/>
          </p:nvSpPr>
          <p:spPr>
            <a:xfrm>
              <a:off x="3263109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" tIns="121920" rIns="2438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828754">
                <a:spcBef>
                  <a:spcPts val="800"/>
                </a:spcBef>
              </a:pPr>
              <a:endParaRPr lang="en-US" sz="3734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ACDA463-384E-9545-9414-E68AF29BB190}"/>
                </a:ext>
              </a:extLst>
            </p:cNvPr>
            <p:cNvCxnSpPr>
              <a:stCxn id="52" idx="3"/>
            </p:cNvCxnSpPr>
            <p:nvPr/>
          </p:nvCxnSpPr>
          <p:spPr>
            <a:xfrm>
              <a:off x="3373631" y="1756252"/>
              <a:ext cx="6747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5">
            <a:extLst>
              <a:ext uri="{FF2B5EF4-FFF2-40B4-BE49-F238E27FC236}">
                <a16:creationId xmlns:a16="http://schemas.microsoft.com/office/drawing/2014/main" id="{D29959CA-3209-D743-819C-503D419EA4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2331" y="4058883"/>
            <a:ext cx="11582512" cy="7246434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">
            <a:extLst>
              <a:ext uri="{FF2B5EF4-FFF2-40B4-BE49-F238E27FC236}">
                <a16:creationId xmlns:a16="http://schemas.microsoft.com/office/drawing/2014/main" id="{DC7B20BB-30C5-C34B-AEA1-EF9F2449C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2333" y="5966682"/>
            <a:ext cx="8575384" cy="388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364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Ops Requirement &amp; Benefits</a:t>
            </a:r>
            <a:br>
              <a:rPr lang="en-GB" dirty="0"/>
            </a:br>
            <a:br>
              <a:rPr lang="en-GB" dirty="0"/>
            </a:b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aster release rate, hence faster “to Market”</a:t>
            </a:r>
          </a:p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ult Isolat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ster Mean Time To Resolutions (MTTR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est Repeatability and Reliabilit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Greater visibility into system outcomes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100" name="Picture 4" descr="DevOps Automation | DevOps Automation Services &amp; Consulting">
            <a:extLst>
              <a:ext uri="{FF2B5EF4-FFF2-40B4-BE49-F238E27FC236}">
                <a16:creationId xmlns:a16="http://schemas.microsoft.com/office/drawing/2014/main" id="{282F98E3-3821-7DE2-2619-338E1966E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9503" y="4363720"/>
            <a:ext cx="8904344" cy="553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46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Context &amp; Backgroun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77CD440-3F0A-CDB8-0599-5480C014F925}"/>
              </a:ext>
            </a:extLst>
          </p:cNvPr>
          <p:cNvSpPr txBox="1">
            <a:spLocks/>
          </p:cNvSpPr>
          <p:nvPr/>
        </p:nvSpPr>
        <p:spPr>
          <a:xfrm>
            <a:off x="533422" y="2368756"/>
            <a:ext cx="11660166" cy="9932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Wingdings" pitchFamily="2" charset="2"/>
              <a:buChar char="Ø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Flexible Development Process</a:t>
            </a:r>
          </a:p>
          <a:p>
            <a:pPr lvl="1">
              <a:buNone/>
            </a:pPr>
            <a:endParaRPr lang="en-GB" sz="3200" b="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indent="-571500">
              <a:buFont typeface="Wingdings" pitchFamily="2" charset="2"/>
              <a:buChar char="Ø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Code Quality Check </a:t>
            </a:r>
          </a:p>
          <a:p>
            <a:pPr marL="1154700" lvl="2" indent="-571500">
              <a:buFont typeface="Wingdings" pitchFamily="2" charset="2"/>
              <a:buChar char="Ø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ed Testing</a:t>
            </a:r>
          </a:p>
          <a:p>
            <a:pPr marL="1154700" lvl="2" indent="-571500">
              <a:buFont typeface="Wingdings" pitchFamily="2" charset="2"/>
              <a:buChar char="Ø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lvl="1" indent="-571500">
              <a:buFont typeface="Wingdings" pitchFamily="2" charset="2"/>
              <a:buChar char="Ø"/>
            </a:pP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Delivery / Promotion Automation</a:t>
            </a: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lvl="1" indent="-571500">
              <a:buFont typeface="Wingdings" pitchFamily="2" charset="2"/>
              <a:buChar char="Ø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1500" lvl="1" indent="-571500">
              <a:buFont typeface="Wingdings" pitchFamily="2" charset="2"/>
              <a:buChar char="Ø"/>
            </a:pP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Repeatability</a:t>
            </a: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3E360F5-98B8-5F15-8454-AF352BFC0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259" y="1788980"/>
            <a:ext cx="13546660" cy="890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27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723987" y="1361793"/>
            <a:ext cx="22936200" cy="581026"/>
          </a:xfrm>
        </p:spPr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Platform &amp; Too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14907559" y="6551112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endParaRPr lang="en-DE" sz="720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533422" y="2368756"/>
            <a:ext cx="11660166" cy="9932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Below are the assumptions made for further discuss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4 Environments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lay/Build, Dev, QA and Pro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Test</a:t>
            </a: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sz="3200" b="0" dirty="0">
                <a:solidFill>
                  <a:srgbClr val="202124"/>
                </a:solidFill>
                <a:latin typeface="arial" panose="020B0604020202020204" pitchFamily="34" charset="0"/>
              </a:rPr>
              <a:t>Automation</a:t>
            </a:r>
          </a:p>
          <a:p>
            <a:pPr marL="1154700" lvl="2" indent="-571500"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/ Azure Test Plan</a:t>
            </a:r>
          </a:p>
          <a:p>
            <a:pPr marL="1737900" lvl="3" indent="-571500">
              <a:buFont typeface="Arial" panose="020B0604020202020204" pitchFamily="34" charset="0"/>
              <a:buChar char="•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154700" lvl="2" indent="-571500">
              <a:buFont typeface="Courier New" panose="02070309020205020404" pitchFamily="49" charset="0"/>
              <a:buChar char="o"/>
            </a:pPr>
            <a:endParaRPr lang="en-GB" sz="320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sz="3200" dirty="0"/>
          </a:p>
          <a:p>
            <a:pPr>
              <a:buFont typeface="Segoe UI" panose="020B0502040204020203" pitchFamily="34" charset="0"/>
              <a:buNone/>
            </a:pPr>
            <a:r>
              <a:rPr lang="en-DE" sz="3200" dirty="0"/>
              <a:t> 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90C1C0B2-51E9-6537-E0F2-49379346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886" y="3369573"/>
            <a:ext cx="13759074" cy="6976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997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689069" y="12939014"/>
            <a:ext cx="123431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96B3F7-6D34-7F11-D368-58D1098B7D9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0A223F-8FD9-CE68-ABAE-FEE79A926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66" y="2775602"/>
            <a:ext cx="24065022" cy="746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33F2AA-8F8E-60DC-6992-BAC0B3D1ED28}"/>
              </a:ext>
            </a:extLst>
          </p:cNvPr>
          <p:cNvSpPr txBox="1"/>
          <p:nvPr/>
        </p:nvSpPr>
        <p:spPr>
          <a:xfrm>
            <a:off x="723988" y="10677372"/>
            <a:ext cx="24065022" cy="2320396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defTabSz="1944000">
              <a:lnSpc>
                <a:spcPct val="120000"/>
              </a:lnSpc>
              <a:spcAft>
                <a:spcPts val="1530"/>
              </a:spcAft>
            </a:pPr>
            <a:r>
              <a:rPr lang="en-DE" sz="3200" b="1" dirty="0"/>
              <a:t>Note</a:t>
            </a:r>
            <a:r>
              <a:rPr lang="en-DE" sz="3200" dirty="0"/>
              <a:t>: </a:t>
            </a:r>
            <a:r>
              <a:rPr lang="en-DE" sz="3200" i="1" dirty="0"/>
              <a:t>This is just a sample model used by one of the customer where the solution was primarily developed. This </a:t>
            </a:r>
          </a:p>
          <a:p>
            <a:pPr defTabSz="1944000">
              <a:lnSpc>
                <a:spcPct val="120000"/>
              </a:lnSpc>
              <a:spcAft>
                <a:spcPts val="1530"/>
              </a:spcAft>
            </a:pPr>
            <a:r>
              <a:rPr lang="en-DE" sz="3200" i="1" dirty="0"/>
              <a:t>framework can be adopted to any Git Workflow used by customer as per their needs. We are not promoting any specific</a:t>
            </a:r>
          </a:p>
          <a:p>
            <a:pPr defTabSz="1944000">
              <a:lnSpc>
                <a:spcPct val="120000"/>
              </a:lnSpc>
              <a:spcAft>
                <a:spcPts val="1530"/>
              </a:spcAft>
            </a:pPr>
            <a:r>
              <a:rPr lang="en-DE" sz="3200" i="1" dirty="0"/>
              <a:t> model.</a:t>
            </a:r>
          </a:p>
        </p:txBody>
      </p:sp>
    </p:spTree>
    <p:extLst>
      <p:ext uri="{BB962C8B-B14F-4D97-AF65-F5344CB8AC3E}">
        <p14:creationId xmlns:p14="http://schemas.microsoft.com/office/powerpoint/2010/main" val="1667141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livery / Deployment Overview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3565638" y="12939014"/>
            <a:ext cx="246862" cy="246221"/>
          </a:xfrm>
        </p:spPr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96866725-9D63-7A66-3ED5-909D99DFB20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87" y="5354615"/>
            <a:ext cx="22936200" cy="4171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974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1410df4-8ff8-4214-ad36-13c46f254289"/>
</p:tagLst>
</file>

<file path=ppt/theme/theme1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2024" id="{E423D831-F624-7748-A497-AE2A5A829210}" vid="{E66FBBBA-B825-8D4E-8473-F4A155FB04D0}"/>
    </a:ext>
  </a:extLst>
</a:theme>
</file>

<file path=ppt/theme/theme2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ppt/theme/theme3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89B1722A7468429601D2B466415E68" ma:contentTypeVersion="5" ma:contentTypeDescription="Create a new document." ma:contentTypeScope="" ma:versionID="243d95fd9c19e178a554591f37039f9d">
  <xsd:schema xmlns:xsd="http://www.w3.org/2001/XMLSchema" xmlns:xs="http://www.w3.org/2001/XMLSchema" xmlns:p="http://schemas.microsoft.com/office/2006/metadata/properties" xmlns:ns3="ab11ba86-2c31-46d9-9d8f-9cc35c217c6e" targetNamespace="http://schemas.microsoft.com/office/2006/metadata/properties" ma:root="true" ma:fieldsID="7377fc95b6e33ffaa2fb226b3442dde5" ns3:_="">
    <xsd:import namespace="ab11ba86-2c31-46d9-9d8f-9cc35c217c6e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ba86-2c31-46d9-9d8f-9cc35c217c6e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2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FACC985F-8D97-0C4C-9283-C4FFE412CB99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BF798436-17EB-BD4C-A804-DF3B2E5FB8F7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7420DFD9-3AD2-D745-A42E-7E689513201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12.xml><?xml version="1.0" encoding="utf-8"?>
<ds:datastoreItem xmlns:ds="http://schemas.openxmlformats.org/officeDocument/2006/customXml" ds:itemID="{A4156E06-9DD3-4C4C-98ED-47757E907112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950712BA-B854-D94E-9F7C-2E99611FA161}">
  <ds:schemaRefs>
    <ds:schemaRef ds:uri="http://schemas.microsoft.com/sharepoint/v3/contenttype/forms"/>
  </ds:schemaRefs>
</ds:datastoreItem>
</file>

<file path=customXml/itemProps14.xml><?xml version="1.0" encoding="utf-8"?>
<ds:datastoreItem xmlns:ds="http://schemas.openxmlformats.org/officeDocument/2006/customXml" ds:itemID="{9A2EC8DE-5255-480C-8658-B922FB1601E3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6A0BFA7F-234A-4E43-AEB8-23BB8748019F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7DC37F51-B69A-4B09-9908-679E8D0191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ba86-2c31-46d9-9d8f-9cc35c217c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7.xml><?xml version="1.0" encoding="utf-8"?>
<ds:datastoreItem xmlns:ds="http://schemas.openxmlformats.org/officeDocument/2006/customXml" ds:itemID="{B94DE931-5C03-2741-9A6B-22F5AB566FE8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95B062E0-46F5-AF41-B11D-C97A428A36F9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9.xml><?xml version="1.0" encoding="utf-8"?>
<ds:datastoreItem xmlns:ds="http://schemas.openxmlformats.org/officeDocument/2006/customXml" ds:itemID="{0F0FED40-0CF2-B642-8AC8-C6DFB77B4C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C03BF6-D12D-4958-A7F0-96FD28C04793}">
  <ds:schemaRefs>
    <ds:schemaRef ds:uri="http://www.w3.org/XML/1998/namespace"/>
    <ds:schemaRef ds:uri="ab11ba86-2c31-46d9-9d8f-9cc35c217c6e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</ds:schemaRefs>
</ds:datastoreItem>
</file>

<file path=customXml/itemProps20.xml><?xml version="1.0" encoding="utf-8"?>
<ds:datastoreItem xmlns:ds="http://schemas.openxmlformats.org/officeDocument/2006/customXml" ds:itemID="{FAA2C6C2-D557-A745-B376-A5198E53D1C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21.xml><?xml version="1.0" encoding="utf-8"?>
<ds:datastoreItem xmlns:ds="http://schemas.openxmlformats.org/officeDocument/2006/customXml" ds:itemID="{C394199D-E691-F741-A094-96C9B35C1657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86C9E9A-FCE4-4244-8CAF-FA8672B04FD9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47959E3F-F796-C548-8F1B-5E8889CD114F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5.xml><?xml version="1.0" encoding="utf-8"?>
<ds:datastoreItem xmlns:ds="http://schemas.openxmlformats.org/officeDocument/2006/customXml" ds:itemID="{3AA7CA6A-B16B-BB42-B315-F08785260A71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4113982-5C59-B74D-AAA1-94635B616FD3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7.xml><?xml version="1.0" encoding="utf-8"?>
<ds:datastoreItem xmlns:ds="http://schemas.openxmlformats.org/officeDocument/2006/customXml" ds:itemID="{38B2DB44-A9B4-9B43-8283-F09AFF010C4D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8.xml><?xml version="1.0" encoding="utf-8"?>
<ds:datastoreItem xmlns:ds="http://schemas.openxmlformats.org/officeDocument/2006/customXml" ds:itemID="{8E34C6A6-51DD-5747-BD24-663F5176C6B4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25515E09-E5ED-CF46-905D-7529AFE84762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BM presentation template</Template>
  <TotalTime>363</TotalTime>
  <Words>1344</Words>
  <Application>Microsoft Macintosh PowerPoint</Application>
  <PresentationFormat>Custom</PresentationFormat>
  <Paragraphs>289</Paragraphs>
  <Slides>23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Arial</vt:lpstr>
      <vt:lpstr>Calibri</vt:lpstr>
      <vt:lpstr>Courier New</vt:lpstr>
      <vt:lpstr>Helvetica Neue</vt:lpstr>
      <vt:lpstr>IBM Plex Sans</vt:lpstr>
      <vt:lpstr>IBM Plex Sans ExtLt</vt:lpstr>
      <vt:lpstr>IBM Plex Sans Light</vt:lpstr>
      <vt:lpstr>Inter</vt:lpstr>
      <vt:lpstr>Rubik</vt:lpstr>
      <vt:lpstr>Segoe UI</vt:lpstr>
      <vt:lpstr>Wingdings</vt:lpstr>
      <vt:lpstr>IBM presentation template</vt:lpstr>
      <vt:lpstr>DevOps 4 webMethods.io Integration  </vt:lpstr>
      <vt:lpstr>DevOps 4 webMethods.io</vt:lpstr>
      <vt:lpstr>webMethods.io iPaaS</vt:lpstr>
      <vt:lpstr>webMethods.io Integration</vt:lpstr>
      <vt:lpstr>DevOps Requirement &amp; Benefits  </vt:lpstr>
      <vt:lpstr>Context</vt:lpstr>
      <vt:lpstr>Context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Show &amp; Tell / Demo</vt:lpstr>
      <vt:lpstr>Demo</vt:lpstr>
      <vt:lpstr>Demo</vt:lpstr>
      <vt:lpstr>What Next</vt:lpstr>
      <vt:lpstr>Next Steps</vt:lpstr>
      <vt:lpstr>Next Steps</vt:lpstr>
      <vt:lpstr>Referenc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rinivasan Sabapathy</dc:creator>
  <cp:keywords/>
  <dc:description/>
  <cp:lastModifiedBy>Srinivasan Sabapathy</cp:lastModifiedBy>
  <cp:revision>4</cp:revision>
  <cp:lastPrinted>2019-04-25T15:14:05Z</cp:lastPrinted>
  <dcterms:created xsi:type="dcterms:W3CDTF">2025-01-29T10:26:07Z</dcterms:created>
  <dcterms:modified xsi:type="dcterms:W3CDTF">2025-01-30T09:47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89B1722A7468429601D2B466415E68</vt:lpwstr>
  </property>
</Properties>
</file>